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767" r:id="rId1"/>
  </p:sldMasterIdLst>
  <p:notesMasterIdLst>
    <p:notesMasterId r:id="rId20"/>
  </p:notesMasterIdLst>
  <p:handoutMasterIdLst>
    <p:handoutMasterId r:id="rId21"/>
  </p:handoutMasterIdLst>
  <p:sldIdLst>
    <p:sldId id="349" r:id="rId2"/>
    <p:sldId id="344" r:id="rId3"/>
    <p:sldId id="342" r:id="rId4"/>
    <p:sldId id="343" r:id="rId5"/>
    <p:sldId id="345" r:id="rId6"/>
    <p:sldId id="346" r:id="rId7"/>
    <p:sldId id="352" r:id="rId8"/>
    <p:sldId id="358" r:id="rId9"/>
    <p:sldId id="359" r:id="rId10"/>
    <p:sldId id="360" r:id="rId11"/>
    <p:sldId id="361" r:id="rId12"/>
    <p:sldId id="362" r:id="rId13"/>
    <p:sldId id="363" r:id="rId14"/>
    <p:sldId id="364" r:id="rId15"/>
    <p:sldId id="365" r:id="rId16"/>
    <p:sldId id="366" r:id="rId17"/>
    <p:sldId id="367" r:id="rId18"/>
    <p:sldId id="368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30070DE-DF5B-4992-B8B9-0B15DE57410F}">
          <p14:sldIdLst>
            <p14:sldId id="349"/>
            <p14:sldId id="344"/>
            <p14:sldId id="342"/>
            <p14:sldId id="343"/>
            <p14:sldId id="345"/>
            <p14:sldId id="346"/>
            <p14:sldId id="352"/>
            <p14:sldId id="358"/>
            <p14:sldId id="359"/>
            <p14:sldId id="360"/>
            <p14:sldId id="361"/>
            <p14:sldId id="362"/>
            <p14:sldId id="363"/>
            <p14:sldId id="364"/>
            <p14:sldId id="365"/>
            <p14:sldId id="366"/>
            <p14:sldId id="367"/>
            <p14:sldId id="368"/>
          </p14:sldIdLst>
        </p14:section>
        <p14:section name="Untitled Section" id="{4D6DF28C-61BA-495E-AAE2-5AC3872DD6B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4110" userDrawn="1">
          <p15:clr>
            <a:srgbClr val="A4A3A4"/>
          </p15:clr>
        </p15:guide>
        <p15:guide id="2" pos="6804" userDrawn="1">
          <p15:clr>
            <a:srgbClr val="A4A3A4"/>
          </p15:clr>
        </p15:guide>
        <p15:guide id="3" pos="4585" userDrawn="1">
          <p15:clr>
            <a:srgbClr val="A4A3A4"/>
          </p15:clr>
        </p15:guide>
        <p15:guide id="4" pos="453" userDrawn="1">
          <p15:clr>
            <a:srgbClr val="A4A3A4"/>
          </p15:clr>
        </p15:guide>
        <p15:guide id="5" pos="7227" userDrawn="1">
          <p15:clr>
            <a:srgbClr val="A4A3A4"/>
          </p15:clr>
        </p15:guide>
        <p15:guide id="6" orient="horz" pos="379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0E6"/>
    <a:srgbClr val="E5C8C7"/>
    <a:srgbClr val="CFB8AD"/>
    <a:srgbClr val="009EB2"/>
    <a:srgbClr val="BCD5EC"/>
    <a:srgbClr val="76AFCA"/>
    <a:srgbClr val="C7D44E"/>
    <a:srgbClr val="7B6D68"/>
    <a:srgbClr val="DF724B"/>
    <a:srgbClr val="007D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47" autoAdjust="0"/>
    <p:restoredTop sz="86684" autoAdjust="0"/>
  </p:normalViewPr>
  <p:slideViewPr>
    <p:cSldViewPr snapToGrid="0" snapToObjects="1">
      <p:cViewPr varScale="1">
        <p:scale>
          <a:sx n="76" d="100"/>
          <a:sy n="76" d="100"/>
        </p:scale>
        <p:origin x="941" y="53"/>
      </p:cViewPr>
      <p:guideLst>
        <p:guide orient="horz" pos="4110"/>
        <p:guide pos="6804"/>
        <p:guide pos="4585"/>
        <p:guide pos="453"/>
        <p:guide pos="7227"/>
        <p:guide orient="horz" pos="3793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D7ECB6-AE68-D249-9B2F-832951553D15}" type="datetimeFigureOut">
              <a:rPr lang="en-US" smtClean="0"/>
              <a:t>10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AA6F54-9391-8246-8952-1FDF5D547A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3366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27F5E3-5EF0-4617-8167-D5DE095098B9}" type="datetimeFigureOut">
              <a:rPr lang="en-GB" smtClean="0"/>
              <a:t>06/10/2017</a:t>
            </a:fld>
            <a:endParaRPr lang="en-GB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err="1"/>
              <a:t>Klik</a:t>
            </a:r>
            <a:r>
              <a:rPr lang="en-GB" dirty="0"/>
              <a:t> om de </a:t>
            </a:r>
            <a:r>
              <a:rPr lang="en-GB" dirty="0" err="1"/>
              <a:t>modelstijlen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D732EA-9476-4625-B846-D40192A346A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08521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D732EA-9476-4625-B846-D40192A346A7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01523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D732EA-9476-4625-B846-D40192A346A7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49863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D732EA-9476-4625-B846-D40192A346A7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9681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D732EA-9476-4625-B846-D40192A346A7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64105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D732EA-9476-4625-B846-D40192A346A7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4010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sz="1200" dirty="0"/>
              <a:t>3 gyár ( Röszke, Nyírbátor, Veszprém )</a:t>
            </a:r>
            <a:endParaRPr lang="en-US" sz="1200" dirty="0"/>
          </a:p>
          <a:p>
            <a:r>
              <a:rPr lang="hu-HU" sz="1200" dirty="0"/>
              <a:t>20 év alatt több, mint 60mrd fejlesztés</a:t>
            </a:r>
          </a:p>
          <a:p>
            <a:r>
              <a:rPr lang="hu-HU" sz="1200" dirty="0"/>
              <a:t>Röszke : magyar alapanyagból, magyar piacra gyártott termék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D732EA-9476-4625-B846-D40192A346A7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97449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>
                <a:solidFill>
                  <a:srgbClr val="460812"/>
                </a:solidFill>
              </a:rPr>
              <a:t>Salt intake reduction</a:t>
            </a:r>
          </a:p>
          <a:p>
            <a:pPr lvl="1"/>
            <a:r>
              <a:rPr lang="hu-HU" sz="1200" dirty="0">
                <a:solidFill>
                  <a:prstClr val="black"/>
                </a:solidFill>
              </a:rPr>
              <a:t>Dedicated Hunagrian product developments</a:t>
            </a:r>
          </a:p>
          <a:p>
            <a:pPr lvl="1"/>
            <a:endParaRPr lang="hu-HU" sz="1200" dirty="0">
              <a:solidFill>
                <a:prstClr val="black"/>
              </a:solidFill>
            </a:endParaRPr>
          </a:p>
          <a:p>
            <a:pPr marL="271463" lvl="1" indent="-271463">
              <a:spcBef>
                <a:spcPts val="0"/>
              </a:spcBef>
              <a:spcAft>
                <a:spcPts val="1100"/>
              </a:spcAft>
              <a:buSzPct val="120000"/>
              <a:buFont typeface="Arial"/>
              <a:buChar char="•"/>
            </a:pPr>
            <a:r>
              <a:rPr lang="hu-HU" dirty="0">
                <a:solidFill>
                  <a:srgbClr val="460812"/>
                </a:solidFill>
              </a:rPr>
              <a:t>TFA (transfats)</a:t>
            </a:r>
          </a:p>
          <a:p>
            <a:pPr lvl="1">
              <a:spcAft>
                <a:spcPts val="1100"/>
              </a:spcAft>
              <a:buSzPct val="120000"/>
            </a:pPr>
            <a:r>
              <a:rPr lang="hu-HU" sz="1200" dirty="0">
                <a:solidFill>
                  <a:prstClr val="black"/>
                </a:solidFill>
              </a:rPr>
              <a:t>Our products fully comply with new regulation for long time</a:t>
            </a:r>
          </a:p>
          <a:p>
            <a:pPr marL="271463" lvl="1" indent="-271463">
              <a:spcBef>
                <a:spcPts val="0"/>
              </a:spcBef>
              <a:spcAft>
                <a:spcPts val="1100"/>
              </a:spcAft>
              <a:buSzPct val="120000"/>
              <a:buFont typeface="Arial"/>
              <a:buChar char="•"/>
            </a:pPr>
            <a:r>
              <a:rPr lang="hu-HU" dirty="0">
                <a:solidFill>
                  <a:srgbClr val="460812"/>
                </a:solidFill>
              </a:rPr>
              <a:t>Local Sourcing</a:t>
            </a:r>
          </a:p>
          <a:p>
            <a:pPr lvl="1"/>
            <a:r>
              <a:rPr lang="hu-HU" sz="1200" dirty="0">
                <a:solidFill>
                  <a:prstClr val="black"/>
                </a:solidFill>
              </a:rPr>
              <a:t>We have signed Knorr Lnadmar Farm agreement with an oinion farmer in Murony</a:t>
            </a:r>
          </a:p>
          <a:p>
            <a:pPr lvl="1"/>
            <a:endParaRPr lang="hu-HU" sz="1200" dirty="0">
              <a:solidFill>
                <a:prstClr val="black"/>
              </a:solidFill>
            </a:endParaRPr>
          </a:p>
          <a:p>
            <a:pPr marL="271463" lvl="1" indent="-271463">
              <a:spcBef>
                <a:spcPts val="0"/>
              </a:spcBef>
              <a:spcAft>
                <a:spcPts val="1100"/>
              </a:spcAft>
              <a:buSzPct val="120000"/>
              <a:buFont typeface="Arial"/>
              <a:buChar char="•"/>
            </a:pPr>
            <a:r>
              <a:rPr lang="hu-HU" dirty="0">
                <a:solidFill>
                  <a:srgbClr val="460812"/>
                </a:solidFill>
              </a:rPr>
              <a:t>Fat intake reduction</a:t>
            </a:r>
          </a:p>
          <a:p>
            <a:pPr lvl="1">
              <a:spcAft>
                <a:spcPts val="1100"/>
              </a:spcAft>
              <a:buSzPct val="120000"/>
            </a:pPr>
            <a:r>
              <a:rPr lang="hu-HU" sz="1200" dirty="0">
                <a:solidFill>
                  <a:prstClr val="black"/>
                </a:solidFill>
              </a:rPr>
              <a:t>Using Rama Combi Profi 80%-less fat is enough to prepare the most popular dishes for kids in Social sector</a:t>
            </a:r>
          </a:p>
          <a:p>
            <a:r>
              <a:rPr lang="hu-HU" dirty="0">
                <a:solidFill>
                  <a:prstClr val="black"/>
                </a:solidFill>
              </a:rPr>
              <a:t>Allergens and Taste Enhancer (MSG) freee rang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D732EA-9476-4625-B846-D40192A346A7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8217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D732EA-9476-4625-B846-D40192A346A7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87783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D732EA-9476-4625-B846-D40192A346A7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37098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D732EA-9476-4625-B846-D40192A346A7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02758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D732EA-9476-4625-B846-D40192A346A7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1990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9480927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4540705" y="536113"/>
            <a:ext cx="747412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Master title</a:t>
            </a:r>
            <a:br>
              <a:rPr lang="en-GB" dirty="0"/>
            </a:br>
            <a:r>
              <a:rPr lang="en-GB" dirty="0"/>
              <a:t>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141571" y="2726765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40705" y="2396045"/>
            <a:ext cx="747412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presenter nam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540699" y="2676132"/>
            <a:ext cx="74736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40944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3" name="TextBox 7"/>
          <p:cNvSpPr txBox="1"/>
          <p:nvPr/>
        </p:nvSpPr>
        <p:spPr>
          <a:xfrm>
            <a:off x="2141571" y="2726765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18" name="TextBox 7"/>
          <p:cNvSpPr txBox="1"/>
          <p:nvPr/>
        </p:nvSpPr>
        <p:spPr>
          <a:xfrm>
            <a:off x="2141571" y="2726765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2" name="TextBox 7"/>
          <p:cNvSpPr txBox="1"/>
          <p:nvPr/>
        </p:nvSpPr>
        <p:spPr>
          <a:xfrm>
            <a:off x="2141571" y="2726765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6" name="TextBox 7"/>
          <p:cNvSpPr txBox="1"/>
          <p:nvPr/>
        </p:nvSpPr>
        <p:spPr>
          <a:xfrm>
            <a:off x="2141571" y="2726765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0" name="TextBox 7"/>
          <p:cNvSpPr txBox="1"/>
          <p:nvPr userDrawn="1"/>
        </p:nvSpPr>
        <p:spPr>
          <a:xfrm>
            <a:off x="2141571" y="2726765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pic>
        <p:nvPicPr>
          <p:cNvPr id="17" name="Picture 16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2470" y="6198684"/>
            <a:ext cx="1151903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4965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9309012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4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43999" y="460799"/>
            <a:ext cx="11064884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44000" y="1666800"/>
            <a:ext cx="5832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7296000" y="3301995"/>
            <a:ext cx="4176333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/>
              <a:t>click icon to add a </a:t>
            </a:r>
            <a:r>
              <a:rPr lang="en-GB" dirty="0" err="1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2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0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4" name="TextBox 15"/>
          <p:cNvSpPr txBox="1"/>
          <p:nvPr userDrawn="1"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44001" y="1289937"/>
            <a:ext cx="11064883" cy="205184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2140488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7352374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4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43999" y="460799"/>
            <a:ext cx="11064884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44000" y="1666800"/>
            <a:ext cx="5832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7296000" y="3301995"/>
            <a:ext cx="4176333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/>
              <a:t>click icon to add a </a:t>
            </a:r>
            <a:r>
              <a:rPr lang="en-GB" dirty="0" err="1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2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0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4" name="TextBox 15"/>
          <p:cNvSpPr txBox="1"/>
          <p:nvPr userDrawn="1"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744001" y="909794"/>
            <a:ext cx="11064883" cy="205184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9550741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811482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2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43999" y="460800"/>
            <a:ext cx="11064884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44000" y="1089025"/>
            <a:ext cx="5832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7296000" y="3301995"/>
            <a:ext cx="4176333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/>
              <a:t>click icon to add a </a:t>
            </a:r>
            <a:r>
              <a:rPr lang="en-GB" dirty="0" err="1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2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0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4" name="TextBox 15"/>
          <p:cNvSpPr txBox="1"/>
          <p:nvPr userDrawn="1"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40239501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686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1659657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3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43999" y="460800"/>
            <a:ext cx="11064884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44001" y="1089025"/>
            <a:ext cx="11064883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2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0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4" name="TextBox 15"/>
          <p:cNvSpPr txBox="1"/>
          <p:nvPr userDrawn="1"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38684102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686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9030571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3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43999" y="460800"/>
            <a:ext cx="11064884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44000" y="1089025"/>
            <a:ext cx="5352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2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0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4" name="TextBox 15"/>
          <p:cNvSpPr txBox="1"/>
          <p:nvPr userDrawn="1"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456884" y="1089025"/>
            <a:ext cx="5352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37552304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68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1959552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12192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3" name="Title 1"/>
          <p:cNvSpPr txBox="1">
            <a:spLocks/>
          </p:cNvSpPr>
          <p:nvPr userDrawn="1"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17388531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9870642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43999" y="460802"/>
            <a:ext cx="11064884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44005" y="1152000"/>
            <a:ext cx="1106488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/>
              <a:t>Click for sub title</a:t>
            </a:r>
          </a:p>
        </p:txBody>
      </p:sp>
      <p:sp>
        <p:nvSpPr>
          <p:cNvPr id="13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1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5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9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3" name="TextBox 15"/>
          <p:cNvSpPr txBox="1"/>
          <p:nvPr userDrawn="1"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742955" y="1928813"/>
            <a:ext cx="11065932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16900788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68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7738630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2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15789419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e opportun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88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bk object 33"/>
          <p:cNvSpPr/>
          <p:nvPr userDrawn="1"/>
        </p:nvSpPr>
        <p:spPr>
          <a:xfrm>
            <a:off x="0" y="0"/>
            <a:ext cx="12192000" cy="89296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GB" sz="1266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11644313" y="6501747"/>
            <a:ext cx="272652" cy="378709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pPr marL="17859"/>
            <a:fld id="{81D60167-4931-47E6-BA6A-407CBD079E47}" type="slidenum">
              <a:rPr lang="en-GB" spc="4" smtClean="0"/>
              <a:pPr marL="17859"/>
              <a:t>‹#›</a:t>
            </a:fld>
            <a:endParaRPr lang="en-GB" spc="4" dirty="0"/>
          </a:p>
        </p:txBody>
      </p:sp>
      <p:sp>
        <p:nvSpPr>
          <p:cNvPr id="32" name="Tijdelijke aanduiding voor tekst 31"/>
          <p:cNvSpPr>
            <a:spLocks noGrp="1"/>
          </p:cNvSpPr>
          <p:nvPr>
            <p:ph type="body" sz="quarter" idx="13" hasCustomPrompt="1"/>
          </p:nvPr>
        </p:nvSpPr>
        <p:spPr>
          <a:xfrm>
            <a:off x="666751" y="1017984"/>
            <a:ext cx="10821293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687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266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266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266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266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</a:t>
            </a:r>
          </a:p>
          <a:p>
            <a:pPr lvl="2"/>
            <a:r>
              <a:rPr lang="en-GB" dirty="0"/>
              <a:t>Third</a:t>
            </a:r>
          </a:p>
          <a:p>
            <a:pPr lvl="3"/>
            <a:r>
              <a:rPr lang="en-GB" dirty="0"/>
              <a:t>Fourth</a:t>
            </a:r>
          </a:p>
          <a:p>
            <a:pPr lvl="4"/>
            <a:r>
              <a:rPr lang="en-GB" dirty="0"/>
              <a:t>Fifth</a:t>
            </a:r>
          </a:p>
        </p:txBody>
      </p:sp>
      <p:pic>
        <p:nvPicPr>
          <p:cNvPr id="24" name="Afbeelding 2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141" y="6250637"/>
            <a:ext cx="10813718" cy="630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04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A34319"/>
                </a:solidFill>
              </a:rPr>
              <a:t>Presentation title in footer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EDC6AA-D1C3-4F49-984A-3C229C8972EA}" type="slidenum">
              <a:rPr lang="en-US">
                <a:solidFill>
                  <a:srgbClr val="A34319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A34319"/>
              </a:solidFill>
            </a:endParaRPr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A34319"/>
                </a:solidFill>
              </a:rPr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25142688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560142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endParaRPr sz="1800" b="0" dirty="0"/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1526808"/>
            <a:ext cx="10752333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Master title</a:t>
            </a:r>
            <a:br>
              <a:rPr lang="en-GB" dirty="0"/>
            </a:br>
            <a:r>
              <a:rPr lang="en-GB" dirty="0"/>
              <a:t>style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  <p:pic>
        <p:nvPicPr>
          <p:cNvPr id="8" name="Picture 16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2470" y="6198684"/>
            <a:ext cx="1151903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9006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0" pos="3840" userDrawn="1">
          <p15:clr>
            <a:srgbClr val="FBAE40"/>
          </p15:clr>
        </p15:guide>
        <p15:guide id="1" pos="7227" userDrawn="1">
          <p15:clr>
            <a:srgbClr val="FBAE40"/>
          </p15:clr>
        </p15:guide>
        <p15:guide id="2" pos="45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38953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20000" y="1526808"/>
            <a:ext cx="10752333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edit</a:t>
            </a:r>
            <a:br>
              <a:rPr lang="en-GB" dirty="0"/>
            </a:br>
            <a:r>
              <a:rPr lang="en-GB" dirty="0"/>
              <a:t>Master title</a:t>
            </a:r>
            <a:br>
              <a:rPr lang="en-GB" dirty="0"/>
            </a:br>
            <a:r>
              <a:rPr lang="en-GB" dirty="0"/>
              <a:t>style</a:t>
            </a:r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7586133" y="3222667"/>
            <a:ext cx="388620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icon to add a </a:t>
            </a:r>
            <a:r>
              <a:rPr lang="en-GB" dirty="0" err="1"/>
              <a:t>packshot</a:t>
            </a:r>
            <a:endParaRPr lang="en-GB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  <p:pic>
        <p:nvPicPr>
          <p:cNvPr id="9" name="Picture 16"/>
          <p:cNvPicPr>
            <a:picLocks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2470" y="6198684"/>
            <a:ext cx="1151903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0083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7227" userDrawn="1">
          <p15:clr>
            <a:srgbClr val="FBAE40"/>
          </p15:clr>
        </p15:guide>
        <p15:guide id="3" pos="45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4774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44000" y="460802"/>
            <a:ext cx="58176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44005" y="882000"/>
            <a:ext cx="58303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44005" y="1665288"/>
            <a:ext cx="58303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7296000" y="0"/>
            <a:ext cx="4896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2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0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4" name="TextBox 15"/>
          <p:cNvSpPr txBox="1"/>
          <p:nvPr userDrawn="1"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25549007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9" userDrawn="1">
          <p15:clr>
            <a:srgbClr val="FBAE40"/>
          </p15:clr>
        </p15:guide>
        <p15:guide id="2" orient="horz" pos="550" userDrawn="1">
          <p15:clr>
            <a:srgbClr val="FBAE40"/>
          </p15:clr>
        </p15:guide>
        <p15:guide id="3" orient="horz" pos="453" userDrawn="1">
          <p15:clr>
            <a:srgbClr val="FBAE40"/>
          </p15:clr>
        </p15:guide>
        <p15:guide id="4" pos="459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256933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3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44000" y="460802"/>
            <a:ext cx="58176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44005" y="1665288"/>
            <a:ext cx="58303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7296000" y="0"/>
            <a:ext cx="4896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2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0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4" name="TextBox 15"/>
          <p:cNvSpPr txBox="1"/>
          <p:nvPr userDrawn="1"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33885915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9" userDrawn="1">
          <p15:clr>
            <a:srgbClr val="FBAE40"/>
          </p15:clr>
        </p15:guide>
        <p15:guide id="2" orient="horz" pos="550" userDrawn="1">
          <p15:clr>
            <a:srgbClr val="FBAE40"/>
          </p15:clr>
        </p15:guide>
        <p15:guide id="3" orient="horz" pos="453" userDrawn="1">
          <p15:clr>
            <a:srgbClr val="FBAE40"/>
          </p15:clr>
        </p15:guide>
        <p15:guide id="4" pos="459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9660692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44001" y="460802"/>
            <a:ext cx="11064883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44001" y="1152000"/>
            <a:ext cx="5352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44001" y="1928188"/>
            <a:ext cx="5352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13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1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5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9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3" name="TextBox 15"/>
          <p:cNvSpPr txBox="1"/>
          <p:nvPr userDrawn="1"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19528113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756819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44001" y="460802"/>
            <a:ext cx="11064883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44001" y="1152000"/>
            <a:ext cx="11064883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106244" y="2583334"/>
            <a:ext cx="5352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13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1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5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9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3" name="TextBox 15"/>
          <p:cNvSpPr txBox="1"/>
          <p:nvPr userDrawn="1"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908374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2900773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43999" y="460802"/>
            <a:ext cx="11064884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44000" y="1666800"/>
            <a:ext cx="5832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7296000" y="3301995"/>
            <a:ext cx="4176333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/>
              <a:t>click icon to add a </a:t>
            </a:r>
            <a:r>
              <a:rPr lang="en-GB" dirty="0" err="1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2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0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4" name="TextBox 15"/>
          <p:cNvSpPr txBox="1"/>
          <p:nvPr userDrawn="1"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12127636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orient="horz" pos="104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4622502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2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43999" y="460799"/>
            <a:ext cx="11064884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744000" y="1666800"/>
            <a:ext cx="5832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7296000" y="3301995"/>
            <a:ext cx="4176333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/>
              <a:t>click icon to add a </a:t>
            </a:r>
            <a:r>
              <a:rPr lang="en-GB" dirty="0" err="1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2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6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0" name="TextBox 15"/>
          <p:cNvSpPr txBox="1"/>
          <p:nvPr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34" name="TextBox 15"/>
          <p:cNvSpPr txBox="1"/>
          <p:nvPr userDrawn="1"/>
        </p:nvSpPr>
        <p:spPr>
          <a:xfrm>
            <a:off x="2094388" y="304800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1800" dirty="0"/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1581031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592405147"/>
              </p:ext>
            </p:ext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20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8"/>
            <a:ext cx="12192000" cy="745807"/>
          </a:xfrm>
          <a:prstGeom prst="rect">
            <a:avLst/>
          </a:prstGeom>
          <a:blipFill>
            <a:blip r:embed="rId25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/>
              <a:t>Klik</a:t>
            </a:r>
            <a:r>
              <a:rPr lang="en-GB" dirty="0"/>
              <a:t> om de </a:t>
            </a:r>
            <a:r>
              <a:rPr lang="en-GB" dirty="0" err="1"/>
              <a:t>stijl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/>
              <a:t>Klik</a:t>
            </a:r>
            <a:r>
              <a:rPr lang="en-GB" dirty="0"/>
              <a:t> om de </a:t>
            </a:r>
            <a:r>
              <a:rPr lang="en-GB" dirty="0" err="1"/>
              <a:t>modelstijlen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bewerken</a:t>
            </a:r>
            <a:endParaRPr lang="en-GB" dirty="0"/>
          </a:p>
          <a:p>
            <a:pPr lvl="1"/>
            <a:r>
              <a:rPr lang="en-GB" dirty="0" err="1"/>
              <a:t>Twee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2"/>
            <a:r>
              <a:rPr lang="en-GB" dirty="0" err="1"/>
              <a:t>D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3"/>
            <a:r>
              <a:rPr lang="en-GB" dirty="0" err="1"/>
              <a:t>Vier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  <a:p>
            <a:pPr lvl="4"/>
            <a:r>
              <a:rPr lang="en-GB" dirty="0" err="1"/>
              <a:t>Vijfde</a:t>
            </a:r>
            <a:r>
              <a:rPr lang="en-GB" dirty="0"/>
              <a:t> </a:t>
            </a:r>
            <a:r>
              <a:rPr lang="en-GB" dirty="0" err="1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2470" y="6198684"/>
            <a:ext cx="1151903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564820" y="6385692"/>
            <a:ext cx="43336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 mar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fld id="{8A33A49E-4140-0947-94AD-CABE7EBC8E47}" type="slidenum">
              <a:rPr lang="en-GB" sz="1100" b="0" i="0" u="none" strike="noStrike" kern="1200" spc="-100" baseline="0" smtClean="0">
                <a:solidFill>
                  <a:schemeClr val="bg1"/>
                </a:solidFill>
                <a:latin typeface="+mn-lt"/>
                <a:ea typeface="+mj-ea"/>
                <a:cs typeface="DINPro-Light"/>
              </a:rPr>
              <a:pPr marL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sz="1100" b="0" i="0" u="none" strike="noStrike" kern="1200" spc="-100" baseline="0" dirty="0">
              <a:solidFill>
                <a:schemeClr val="bg1"/>
              </a:solidFill>
              <a:latin typeface="+mn-lt"/>
              <a:ea typeface="+mj-ea"/>
              <a:cs typeface="DINPro-Light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16029" y="6375605"/>
            <a:ext cx="889624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dirty="0"/>
              <a:t>Presentation title - insert as footer</a:t>
            </a:r>
          </a:p>
        </p:txBody>
      </p:sp>
    </p:spTree>
    <p:extLst>
      <p:ext uri="{BB962C8B-B14F-4D97-AF65-F5344CB8AC3E}">
        <p14:creationId xmlns:p14="http://schemas.microsoft.com/office/powerpoint/2010/main" val="1572851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818" r:id="rId5"/>
    <p:sldLayoutId id="2147483772" r:id="rId6"/>
    <p:sldLayoutId id="2147483813" r:id="rId7"/>
    <p:sldLayoutId id="2147483773" r:id="rId8"/>
    <p:sldLayoutId id="2147483816" r:id="rId9"/>
    <p:sldLayoutId id="2147483825" r:id="rId10"/>
    <p:sldLayoutId id="2147483824" r:id="rId11"/>
    <p:sldLayoutId id="2147483817" r:id="rId12"/>
    <p:sldLayoutId id="2147483822" r:id="rId13"/>
    <p:sldLayoutId id="2147483823" r:id="rId14"/>
    <p:sldLayoutId id="2147483774" r:id="rId15"/>
    <p:sldLayoutId id="2147483821" r:id="rId16"/>
    <p:sldLayoutId id="2147483776" r:id="rId17"/>
    <p:sldLayoutId id="2147483827" r:id="rId18"/>
    <p:sldLayoutId id="2147483828" r:id="rId19"/>
  </p:sldLayoutIdLst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3840" userDrawn="1">
          <p15:clr>
            <a:srgbClr val="F26B43"/>
          </p15:clr>
        </p15:guide>
        <p15:guide id="2" pos="453" userDrawn="1">
          <p15:clr>
            <a:srgbClr val="F26B43"/>
          </p15:clr>
        </p15:guide>
        <p15:guide id="3" pos="7439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7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jpe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jpe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jpeg"/><Relationship Id="rId10" Type="http://schemas.openxmlformats.org/officeDocument/2006/relationships/image" Target="../media/image33.png"/><Relationship Id="rId4" Type="http://schemas.openxmlformats.org/officeDocument/2006/relationships/image" Target="../media/image27.jpeg"/><Relationship Id="rId9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3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75243" y="1115859"/>
            <a:ext cx="8582295" cy="5293757"/>
          </a:xfrm>
        </p:spPr>
        <p:txBody>
          <a:bodyPr/>
          <a:lstStyle/>
          <a:p>
            <a:pPr algn="ctr"/>
            <a:br>
              <a:rPr lang="hu-HU" sz="4000" dirty="0"/>
            </a:br>
            <a:r>
              <a:rPr lang="hu-HU" sz="4000" dirty="0"/>
              <a:t>Professzionális megoldások </a:t>
            </a:r>
            <a:br>
              <a:rPr lang="hu-HU" sz="4000" dirty="0"/>
            </a:br>
            <a:r>
              <a:rPr lang="hu-HU" sz="4000" dirty="0"/>
              <a:t>a vendéglátás területén</a:t>
            </a:r>
            <a:br>
              <a:rPr lang="hu-HU" sz="4000" dirty="0"/>
            </a:br>
            <a:br>
              <a:rPr lang="hu-HU" sz="4000" dirty="0"/>
            </a:br>
            <a:r>
              <a:rPr lang="hu-HU" sz="3200" dirty="0"/>
              <a:t>Unilever Food Solutions</a:t>
            </a:r>
            <a:br>
              <a:rPr lang="hu-HU" sz="4000" dirty="0"/>
            </a:br>
            <a:br>
              <a:rPr lang="hu-HU" sz="4000" dirty="0"/>
            </a:br>
            <a:br>
              <a:rPr lang="hu-HU" sz="4000" dirty="0"/>
            </a:br>
            <a:br>
              <a:rPr lang="en-US" sz="4000" dirty="0"/>
            </a:br>
            <a:r>
              <a:rPr lang="hu-HU" sz="2400" dirty="0"/>
              <a:t>2017. október </a:t>
            </a:r>
            <a:endParaRPr lang="en-US" sz="32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0815" y="3008352"/>
            <a:ext cx="2998160" cy="186514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74665" y="0"/>
            <a:ext cx="3012010" cy="3221045"/>
          </a:xfrm>
          <a:prstGeom prst="rect">
            <a:avLst/>
          </a:prstGeom>
        </p:spPr>
      </p:pic>
      <p:pic>
        <p:nvPicPr>
          <p:cNvPr id="5" name="Picture Placeholder 3" descr="DSC_6893.jp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540" t="21209" r="2610" b="28506"/>
          <a:stretch/>
        </p:blipFill>
        <p:spPr>
          <a:xfrm>
            <a:off x="-153474" y="4873497"/>
            <a:ext cx="3090820" cy="1984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4510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 flipH="1" flipV="1">
            <a:off x="12387262" y="6175627"/>
            <a:ext cx="757238" cy="82524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>
              <a:defRPr sz="1500">
                <a:solidFill>
                  <a:srgbClr val="005EB8"/>
                </a:solidFill>
                <a:latin typeface="+mn-lt"/>
                <a:cs typeface="Unilever DIN Offc Pro" pitchFamily="34" charset="0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hu-HU" sz="2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43" y="0"/>
            <a:ext cx="12197647" cy="1079999"/>
          </a:xfrm>
          <a:prstGeom prst="rect">
            <a:avLst/>
          </a:prstGeom>
        </p:spPr>
      </p:pic>
      <p:sp>
        <p:nvSpPr>
          <p:cNvPr id="34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95767" y="230400"/>
            <a:ext cx="11064884" cy="492443"/>
          </a:xfrm>
        </p:spPr>
        <p:txBody>
          <a:bodyPr anchor="t">
            <a:spAutoFit/>
          </a:bodyPr>
          <a:lstStyle/>
          <a:p>
            <a:r>
              <a:rPr lang="hu-HU" sz="3200" dirty="0">
                <a:solidFill>
                  <a:schemeClr val="bg1"/>
                </a:solidFill>
              </a:rPr>
              <a:t>DIGITÁLIS VILÁG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512361" y="2650156"/>
            <a:ext cx="6519805" cy="22344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Szakmai igényekhez igazított új weboldal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Online kommunikáció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Online inspiráció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Online termékminta rendelés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hu-HU" sz="2400" dirty="0">
              <a:sym typeface="DINPro-Regular" panose="02000503030000020004" pitchFamily="2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11636" y="3891776"/>
            <a:ext cx="2948455" cy="213418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1"/>
          <a:stretch/>
        </p:blipFill>
        <p:spPr>
          <a:xfrm>
            <a:off x="459367" y="1570600"/>
            <a:ext cx="2948455" cy="2138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620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err="1"/>
              <a:t>www.ufs.com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49491" y="197429"/>
            <a:ext cx="4114800" cy="7000875"/>
          </a:xfrm>
          <a:prstGeom prst="rect">
            <a:avLst/>
          </a:prstGeom>
          <a:ln w="38100">
            <a:solidFill>
              <a:schemeClr val="accent1"/>
            </a:solidFill>
          </a:ln>
          <a:scene3d>
            <a:camera prst="perspectiveLeft"/>
            <a:lightRig rig="threePt" dir="t"/>
          </a:scene3d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6441" y="3697866"/>
            <a:ext cx="6143625" cy="6781800"/>
          </a:xfrm>
          <a:prstGeom prst="rect">
            <a:avLst/>
          </a:prstGeom>
          <a:ln w="38100">
            <a:solidFill>
              <a:schemeClr val="accent1"/>
            </a:solidFill>
          </a:ln>
          <a:scene3d>
            <a:camera prst="perspectiveRight"/>
            <a:lightRig rig="threePt" dir="t"/>
          </a:scene3d>
        </p:spPr>
      </p:pic>
      <p:sp>
        <p:nvSpPr>
          <p:cNvPr id="7" name="Rectangle 6"/>
          <p:cNvSpPr/>
          <p:nvPr/>
        </p:nvSpPr>
        <p:spPr>
          <a:xfrm>
            <a:off x="571867" y="1347960"/>
            <a:ext cx="4891133" cy="393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Ötletek, inspirációk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Termékek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Receptek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Allergén információk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Termék specifikációk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Tréningek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Minta igénylés és termék rendelés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hu-HU" sz="2400" dirty="0">
              <a:sym typeface="DINPro-Regular" panose="02000503030000020004" pitchFamily="2" charset="0"/>
            </a:endParaRPr>
          </a:p>
        </p:txBody>
      </p:sp>
      <p:sp>
        <p:nvSpPr>
          <p:cNvPr id="8" name="Text Box 20"/>
          <p:cNvSpPr txBox="1">
            <a:spLocks noChangeArrowheads="1"/>
          </p:cNvSpPr>
          <p:nvPr/>
        </p:nvSpPr>
        <p:spPr bwMode="auto">
          <a:xfrm>
            <a:off x="571866" y="5091286"/>
            <a:ext cx="3906615" cy="70788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u-HU" sz="2000" b="1" dirty="0">
                <a:solidFill>
                  <a:schemeClr val="bg1"/>
                </a:solidFill>
              </a:rPr>
              <a:t>MINDEZ EGY HELYEN</a:t>
            </a:r>
          </a:p>
          <a:p>
            <a:pPr algn="ctr">
              <a:defRPr/>
            </a:pPr>
            <a:r>
              <a:rPr lang="hu-HU" sz="2000" b="1" dirty="0">
                <a:solidFill>
                  <a:schemeClr val="bg1"/>
                </a:solidFill>
              </a:rPr>
              <a:t>ÚJ FUNKCIÓKKAL</a:t>
            </a:r>
            <a:endParaRPr lang="en-GB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6129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/>
              <a:t>PIACI TENDENCIA VS. TULAJDONOSI SZEMLÉLET</a:t>
            </a:r>
            <a:endParaRPr lang="en-GB" dirty="0"/>
          </a:p>
        </p:txBody>
      </p:sp>
      <p:sp>
        <p:nvSpPr>
          <p:cNvPr id="8" name="Text Box 20"/>
          <p:cNvSpPr txBox="1">
            <a:spLocks noChangeArrowheads="1"/>
          </p:cNvSpPr>
          <p:nvPr/>
        </p:nvSpPr>
        <p:spPr bwMode="auto">
          <a:xfrm>
            <a:off x="0" y="5220409"/>
            <a:ext cx="3632007" cy="70788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u-HU" sz="2000" b="1" dirty="0">
                <a:solidFill>
                  <a:prstClr val="white"/>
                </a:solidFill>
              </a:rPr>
              <a:t>HATÉKONYSÁG NÖVELÉS SEGÍTÉSE</a:t>
            </a:r>
          </a:p>
        </p:txBody>
      </p:sp>
      <p:sp>
        <p:nvSpPr>
          <p:cNvPr id="9" name="Text Box 20"/>
          <p:cNvSpPr txBox="1">
            <a:spLocks noChangeArrowheads="1"/>
          </p:cNvSpPr>
          <p:nvPr/>
        </p:nvSpPr>
        <p:spPr bwMode="auto">
          <a:xfrm>
            <a:off x="3813830" y="5224113"/>
            <a:ext cx="3906615" cy="70788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u-HU" sz="2000" b="1" dirty="0">
                <a:solidFill>
                  <a:prstClr val="white"/>
                </a:solidFill>
              </a:rPr>
              <a:t>FELZÁRKÓZTATÁS</a:t>
            </a:r>
          </a:p>
          <a:p>
            <a:pPr algn="ctr">
              <a:defRPr/>
            </a:pPr>
            <a:endParaRPr lang="en-GB" sz="2000" b="1" dirty="0">
              <a:solidFill>
                <a:prstClr val="white"/>
              </a:solidFill>
            </a:endParaRPr>
          </a:p>
        </p:txBody>
      </p:sp>
      <p:sp>
        <p:nvSpPr>
          <p:cNvPr id="10" name="Text Box 20"/>
          <p:cNvSpPr txBox="1">
            <a:spLocks noChangeArrowheads="1"/>
          </p:cNvSpPr>
          <p:nvPr/>
        </p:nvSpPr>
        <p:spPr bwMode="auto">
          <a:xfrm>
            <a:off x="7902268" y="5221624"/>
            <a:ext cx="3906615" cy="70788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u-HU" sz="2000" b="1" dirty="0">
                <a:solidFill>
                  <a:prstClr val="white"/>
                </a:solidFill>
              </a:rPr>
              <a:t>SZAKMAI / ANYAGI TÁMOGATÁS</a:t>
            </a:r>
          </a:p>
          <a:p>
            <a:pPr algn="ctr">
              <a:defRPr/>
            </a:pPr>
            <a:endParaRPr lang="en-GB" sz="2000" b="1" dirty="0">
              <a:solidFill>
                <a:prstClr val="white"/>
              </a:solidFill>
            </a:endParaRPr>
          </a:p>
        </p:txBody>
      </p:sp>
      <p:sp>
        <p:nvSpPr>
          <p:cNvPr id="11" name="Text Box 20"/>
          <p:cNvSpPr txBox="1">
            <a:spLocks noChangeArrowheads="1"/>
          </p:cNvSpPr>
          <p:nvPr/>
        </p:nvSpPr>
        <p:spPr bwMode="auto">
          <a:xfrm>
            <a:off x="836084" y="1183759"/>
            <a:ext cx="3632007" cy="70788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u-HU" sz="2000" b="1" dirty="0">
                <a:solidFill>
                  <a:prstClr val="white"/>
                </a:solidFill>
              </a:rPr>
              <a:t>SZAKKÉPZETLEN MUNKAERŐ</a:t>
            </a:r>
          </a:p>
        </p:txBody>
      </p:sp>
      <p:sp>
        <p:nvSpPr>
          <p:cNvPr id="12" name="Text Box 20"/>
          <p:cNvSpPr txBox="1">
            <a:spLocks noChangeArrowheads="1"/>
          </p:cNvSpPr>
          <p:nvPr/>
        </p:nvSpPr>
        <p:spPr bwMode="auto">
          <a:xfrm>
            <a:off x="836084" y="2108537"/>
            <a:ext cx="3632007" cy="70788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u-HU" sz="2000" b="1" dirty="0">
                <a:solidFill>
                  <a:prstClr val="white"/>
                </a:solidFill>
              </a:rPr>
              <a:t>TAPASZTALT, MAGAS BÉRIGÉNYŰ MUNKAERŐ</a:t>
            </a:r>
          </a:p>
        </p:txBody>
      </p:sp>
      <p:sp>
        <p:nvSpPr>
          <p:cNvPr id="13" name="Text Box 20"/>
          <p:cNvSpPr txBox="1">
            <a:spLocks noChangeArrowheads="1"/>
          </p:cNvSpPr>
          <p:nvPr/>
        </p:nvSpPr>
        <p:spPr bwMode="auto">
          <a:xfrm>
            <a:off x="7326939" y="1153086"/>
            <a:ext cx="3632007" cy="70788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u-HU" sz="2000" b="1" dirty="0">
                <a:solidFill>
                  <a:prstClr val="white"/>
                </a:solidFill>
              </a:rPr>
              <a:t>MEGTÉRÜLŐ ÜZLET</a:t>
            </a:r>
          </a:p>
          <a:p>
            <a:pPr algn="ctr">
              <a:defRPr/>
            </a:pPr>
            <a:endParaRPr lang="hu-HU" sz="2000" b="1" dirty="0">
              <a:solidFill>
                <a:prstClr val="white"/>
              </a:solidFill>
            </a:endParaRPr>
          </a:p>
        </p:txBody>
      </p:sp>
      <p:sp>
        <p:nvSpPr>
          <p:cNvPr id="14" name="Text Box 20"/>
          <p:cNvSpPr txBox="1">
            <a:spLocks noChangeArrowheads="1"/>
          </p:cNvSpPr>
          <p:nvPr/>
        </p:nvSpPr>
        <p:spPr bwMode="auto">
          <a:xfrm>
            <a:off x="836083" y="2954735"/>
            <a:ext cx="3632007" cy="70788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u-HU" sz="2000" b="1" dirty="0">
                <a:solidFill>
                  <a:prstClr val="white"/>
                </a:solidFill>
              </a:rPr>
              <a:t>KAPACITÁSHIÁNY</a:t>
            </a:r>
          </a:p>
          <a:p>
            <a:pPr algn="ctr">
              <a:defRPr/>
            </a:pPr>
            <a:endParaRPr lang="hu-HU" sz="2000" b="1" dirty="0">
              <a:solidFill>
                <a:prstClr val="white"/>
              </a:solidFill>
            </a:endParaRPr>
          </a:p>
        </p:txBody>
      </p:sp>
      <p:sp>
        <p:nvSpPr>
          <p:cNvPr id="15" name="Text Box 20"/>
          <p:cNvSpPr txBox="1">
            <a:spLocks noChangeArrowheads="1"/>
          </p:cNvSpPr>
          <p:nvPr/>
        </p:nvSpPr>
        <p:spPr bwMode="auto">
          <a:xfrm>
            <a:off x="7326937" y="2114811"/>
            <a:ext cx="3632007" cy="70788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u-HU" sz="2000" b="1" dirty="0">
                <a:solidFill>
                  <a:prstClr val="white"/>
                </a:solidFill>
              </a:rPr>
              <a:t>MOTIVÁLT DOLGOZÓK</a:t>
            </a:r>
          </a:p>
          <a:p>
            <a:pPr algn="ctr">
              <a:defRPr/>
            </a:pPr>
            <a:endParaRPr lang="hu-HU" sz="2000" b="1" dirty="0">
              <a:solidFill>
                <a:prstClr val="white"/>
              </a:solidFill>
            </a:endParaRPr>
          </a:p>
        </p:txBody>
      </p:sp>
      <p:sp>
        <p:nvSpPr>
          <p:cNvPr id="16" name="Text Box 20"/>
          <p:cNvSpPr txBox="1">
            <a:spLocks noChangeArrowheads="1"/>
          </p:cNvSpPr>
          <p:nvPr/>
        </p:nvSpPr>
        <p:spPr bwMode="auto">
          <a:xfrm>
            <a:off x="7326938" y="2954735"/>
            <a:ext cx="3632007" cy="70788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u-HU" sz="2000" b="1" dirty="0">
                <a:solidFill>
                  <a:prstClr val="white"/>
                </a:solidFill>
              </a:rPr>
              <a:t>ZÖKKENŐMENTES MUNKA</a:t>
            </a:r>
          </a:p>
          <a:p>
            <a:pPr algn="ctr">
              <a:defRPr/>
            </a:pPr>
            <a:endParaRPr lang="hu-HU" sz="2000" b="1" dirty="0">
              <a:solidFill>
                <a:prstClr val="white"/>
              </a:solidFill>
            </a:endParaRPr>
          </a:p>
        </p:txBody>
      </p:sp>
      <p:sp>
        <p:nvSpPr>
          <p:cNvPr id="3" name="Oval 2"/>
          <p:cNvSpPr/>
          <p:nvPr/>
        </p:nvSpPr>
        <p:spPr>
          <a:xfrm>
            <a:off x="4967527" y="3054699"/>
            <a:ext cx="2066319" cy="2020213"/>
          </a:xfrm>
          <a:prstGeom prst="ellipse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b="1" dirty="0">
                <a:latin typeface="DINPro-Regular" panose="02000503030000020004" pitchFamily="2" charset="0"/>
              </a:rPr>
              <a:t>WWW.UFS.COM</a:t>
            </a:r>
            <a:endParaRPr lang="en-GB" sz="1600" b="1" dirty="0" err="1">
              <a:latin typeface="DINPro-Regular" panose="020005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29129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/>
              <a:t>SZAKMAI TÁMOGATÁS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4766" y="218209"/>
            <a:ext cx="4635141" cy="313156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2616" y="1257300"/>
            <a:ext cx="7867650" cy="56007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5884" y="2738279"/>
            <a:ext cx="7791450" cy="439102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428188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/>
              <a:t>RECEPT KALKULÁTOR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4864" y="941615"/>
            <a:ext cx="8607136" cy="6030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2127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/>
              <a:t>MINTA / DEMO IGÉNYLÉS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6819" y="2030675"/>
            <a:ext cx="1940364" cy="280823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26873" y="1508098"/>
            <a:ext cx="2897631" cy="334929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28505" y="645466"/>
            <a:ext cx="2503816" cy="4211928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9" name="Rectangle 8"/>
          <p:cNvSpPr/>
          <p:nvPr/>
        </p:nvSpPr>
        <p:spPr>
          <a:xfrm>
            <a:off x="571867" y="1347960"/>
            <a:ext cx="4891133" cy="2973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Termék kipróbálás befektetés nélkül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Egyedülálló a piacon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Felhasználási </a:t>
            </a:r>
          </a:p>
          <a:p>
            <a:pPr lvl="0">
              <a:spcBef>
                <a:spcPct val="20000"/>
              </a:spcBef>
            </a:pPr>
            <a:r>
              <a:rPr lang="hu-HU" sz="2400" dirty="0">
                <a:sym typeface="DINPro-Regular" panose="02000503030000020004" pitchFamily="2" charset="0"/>
              </a:rPr>
              <a:t>      lehetőségek bemutatásra   	kerülnek igény esetén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hu-HU" sz="2400" dirty="0">
              <a:sym typeface="DINPro-Regular" panose="02000503030000020004" pitchFamily="2" charset="0"/>
            </a:endParaRPr>
          </a:p>
        </p:txBody>
      </p:sp>
      <p:sp>
        <p:nvSpPr>
          <p:cNvPr id="10" name="Text Box 20"/>
          <p:cNvSpPr txBox="1">
            <a:spLocks noChangeArrowheads="1"/>
          </p:cNvSpPr>
          <p:nvPr/>
        </p:nvSpPr>
        <p:spPr bwMode="auto">
          <a:xfrm>
            <a:off x="270530" y="4969123"/>
            <a:ext cx="5698543" cy="70788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u-HU" sz="2000" b="1" dirty="0">
                <a:solidFill>
                  <a:schemeClr val="bg1"/>
                </a:solidFill>
              </a:rPr>
              <a:t>RIZIKÓMENTES ÉS INGYENES TERMÉK KIPRÓBÁLÁS</a:t>
            </a:r>
            <a:endParaRPr lang="en-GB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2389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/>
              <a:t>ONLINE PÁLYÁZATOK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19367" y="1190467"/>
            <a:ext cx="2772633" cy="4173543"/>
          </a:xfrm>
          <a:prstGeom prst="rect">
            <a:avLst/>
          </a:prstGeom>
        </p:spPr>
      </p:pic>
      <p:sp>
        <p:nvSpPr>
          <p:cNvPr id="7" name="Text Box 20"/>
          <p:cNvSpPr txBox="1">
            <a:spLocks noChangeArrowheads="1"/>
          </p:cNvSpPr>
          <p:nvPr/>
        </p:nvSpPr>
        <p:spPr bwMode="auto">
          <a:xfrm>
            <a:off x="270530" y="4969123"/>
            <a:ext cx="5698543" cy="40011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u-HU" sz="2000" b="1" dirty="0">
                <a:solidFill>
                  <a:schemeClr val="bg1"/>
                </a:solidFill>
              </a:rPr>
              <a:t>76.000 ELÉRÉS CSAK FACEBOOK-ON</a:t>
            </a:r>
            <a:endParaRPr lang="en-GB" sz="2000" b="1" dirty="0">
              <a:solidFill>
                <a:schemeClr val="bg1"/>
              </a:solidFill>
            </a:endParaRPr>
          </a:p>
        </p:txBody>
      </p:sp>
      <p:pic>
        <p:nvPicPr>
          <p:cNvPr id="293892" name="Picture 4" descr="Unilever Food Solutions Magyarország fényképe.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1046" y="1190467"/>
            <a:ext cx="3418321" cy="3578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571867" y="1347960"/>
            <a:ext cx="4891133" cy="33424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Magas reklámérték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 err="1">
                <a:sym typeface="DINPro-Regular" panose="02000503030000020004" pitchFamily="2" charset="0"/>
              </a:rPr>
              <a:t>Promótálás</a:t>
            </a:r>
            <a:r>
              <a:rPr lang="hu-HU" sz="2400" dirty="0">
                <a:sym typeface="DINPro-Regular" panose="02000503030000020004" pitchFamily="2" charset="0"/>
              </a:rPr>
              <a:t> online-offline felületek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Szakmai lapokban is bemutatásra kerül </a:t>
            </a:r>
          </a:p>
          <a:p>
            <a:pPr lvl="0">
              <a:spcBef>
                <a:spcPct val="20000"/>
              </a:spcBef>
            </a:pPr>
            <a:r>
              <a:rPr lang="hu-HU" sz="2400" dirty="0">
                <a:sym typeface="DINPro-Regular" panose="02000503030000020004" pitchFamily="2" charset="0"/>
              </a:rPr>
              <a:t>NAGY ÉRTÉKŰ SZAKMAI ESZKÖZ BEFEKTETÉS NÉLKÜL 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hu-HU" sz="2400" dirty="0">
              <a:sym typeface="DINPro-Regular" panose="02000503030000020004" pitchFamily="2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01046" y="1075625"/>
            <a:ext cx="6190954" cy="4945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1476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/>
              <a:t>SZAKMAI EGYÜTTMŰKÖDÉS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743999" y="2758694"/>
            <a:ext cx="4891133" cy="29731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MUNKARUHÁZATI KUPON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olidFill>
                  <a:srgbClr val="FF0000"/>
                </a:solidFill>
                <a:sym typeface="DINPro-Regular" panose="02000503030000020004" pitchFamily="2" charset="0"/>
              </a:rPr>
              <a:t>SZABAD FELHASZNÁLÁS </a:t>
            </a:r>
            <a:r>
              <a:rPr lang="hu-HU" sz="2400" dirty="0">
                <a:sym typeface="DINPro-Regular" panose="02000503030000020004" pitchFamily="2" charset="0"/>
              </a:rPr>
              <a:t>A KONYHA IGÉNYEIRE SZABVA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KUPONKÓD FORMÁJÁBAN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olidFill>
                  <a:srgbClr val="FF0000"/>
                </a:solidFill>
                <a:sym typeface="DINPro-Regular" panose="02000503030000020004" pitchFamily="2" charset="0"/>
              </a:rPr>
              <a:t>ONLINE BEVÁLTÁS </a:t>
            </a:r>
            <a:r>
              <a:rPr lang="hu-HU" sz="2400" dirty="0">
                <a:sym typeface="DINPro-Regular" panose="02000503030000020004" pitchFamily="2" charset="0"/>
              </a:rPr>
              <a:t>KISZÁLLITÁSSAL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hu-HU" sz="2400" dirty="0">
              <a:sym typeface="DINPro-Regular" panose="02000503030000020004" pitchFamily="2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56143" y="645466"/>
            <a:ext cx="5667375" cy="5086350"/>
          </a:xfrm>
          <a:prstGeom prst="rect">
            <a:avLst/>
          </a:prstGeom>
        </p:spPr>
      </p:pic>
      <p:sp>
        <p:nvSpPr>
          <p:cNvPr id="11" name="Text Box 20"/>
          <p:cNvSpPr txBox="1">
            <a:spLocks noChangeArrowheads="1"/>
          </p:cNvSpPr>
          <p:nvPr/>
        </p:nvSpPr>
        <p:spPr bwMode="auto">
          <a:xfrm>
            <a:off x="654993" y="1394303"/>
            <a:ext cx="4810625" cy="70788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hu-HU" sz="2000" b="1" dirty="0">
                <a:solidFill>
                  <a:schemeClr val="bg1"/>
                </a:solidFill>
              </a:rPr>
              <a:t>ANYAGI KERET KEVÉS HELYEN VAN A DOLGOZÓK RUHÁZTATÁSÁRA</a:t>
            </a:r>
            <a:endParaRPr lang="en-GB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0190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7796" y="2576060"/>
            <a:ext cx="8582295" cy="738664"/>
          </a:xfrm>
        </p:spPr>
        <p:txBody>
          <a:bodyPr/>
          <a:lstStyle/>
          <a:p>
            <a:pPr algn="ctr"/>
            <a:r>
              <a:rPr lang="hu-HU" sz="4800" dirty="0"/>
              <a:t>Köszönjük a figyelmet !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6669793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worldmap_UFS_July 2014.jpg"/>
          <p:cNvPicPr>
            <a:picLocks noChangeAspect="1"/>
          </p:cNvPicPr>
          <p:nvPr/>
        </p:nvPicPr>
        <p:blipFill rotWithShape="1">
          <a:blip r:embed="rId3" cstate="print"/>
          <a:srcRect t="12962"/>
          <a:stretch/>
        </p:blipFill>
        <p:spPr>
          <a:xfrm>
            <a:off x="1997946" y="1176111"/>
            <a:ext cx="7860087" cy="3852205"/>
          </a:xfrm>
          <a:prstGeom prst="rect">
            <a:avLst/>
          </a:prstGeom>
        </p:spPr>
      </p:pic>
      <p:sp>
        <p:nvSpPr>
          <p:cNvPr id="4" name="Text Placeholder 1"/>
          <p:cNvSpPr txBox="1">
            <a:spLocks/>
          </p:cNvSpPr>
          <p:nvPr/>
        </p:nvSpPr>
        <p:spPr>
          <a:xfrm>
            <a:off x="323585" y="276134"/>
            <a:ext cx="11064884" cy="36933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lang="en-GB" sz="1100" b="0" i="0" kern="1200">
                <a:solidFill>
                  <a:schemeClr val="bg1"/>
                </a:solidFill>
                <a:latin typeface="+mj-lt"/>
                <a:ea typeface="+mn-ea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z="3200"/>
              <a:t>Főbb eredményünk, együttműködési területeink</a:t>
            </a:r>
            <a:endParaRPr lang="hu-HU" sz="3200" dirty="0"/>
          </a:p>
        </p:txBody>
      </p:sp>
      <p:sp>
        <p:nvSpPr>
          <p:cNvPr id="9" name="Rectangle 8"/>
          <p:cNvSpPr/>
          <p:nvPr/>
        </p:nvSpPr>
        <p:spPr>
          <a:xfrm>
            <a:off x="80388" y="184068"/>
            <a:ext cx="1199438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20000"/>
              </a:spcBef>
            </a:pPr>
            <a:r>
              <a:rPr lang="hu-HU" sz="3200" b="1" dirty="0">
                <a:solidFill>
                  <a:srgbClr val="E45212"/>
                </a:solidFill>
                <a:sym typeface="DINPro-Regular" panose="02000503030000020004" pitchFamily="2" charset="0"/>
              </a:rPr>
              <a:t>Unilever Food Solutions </a:t>
            </a:r>
            <a:r>
              <a:rPr lang="en-US" sz="3200" b="1" dirty="0">
                <a:solidFill>
                  <a:srgbClr val="E45212"/>
                </a:solidFill>
                <a:sym typeface="DINPro-Regular" panose="02000503030000020004" pitchFamily="2" charset="0"/>
              </a:rPr>
              <a:t>= 74 </a:t>
            </a:r>
            <a:r>
              <a:rPr lang="en-US" sz="3200" b="1" dirty="0" err="1">
                <a:solidFill>
                  <a:srgbClr val="E45212"/>
                </a:solidFill>
                <a:sym typeface="DINPro-Regular" panose="02000503030000020004" pitchFamily="2" charset="0"/>
              </a:rPr>
              <a:t>orsz</a:t>
            </a:r>
            <a:r>
              <a:rPr lang="hu-HU" sz="3200" b="1" dirty="0">
                <a:solidFill>
                  <a:srgbClr val="E45212"/>
                </a:solidFill>
                <a:sym typeface="DINPro-Regular" panose="02000503030000020004" pitchFamily="2" charset="0"/>
              </a:rPr>
              <a:t>ág, 4700 alkalmazott (230 séf)</a:t>
            </a:r>
          </a:p>
        </p:txBody>
      </p:sp>
      <p:sp>
        <p:nvSpPr>
          <p:cNvPr id="10" name="Rectangle 9"/>
          <p:cNvSpPr/>
          <p:nvPr/>
        </p:nvSpPr>
        <p:spPr>
          <a:xfrm>
            <a:off x="323585" y="5151693"/>
            <a:ext cx="116440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20000"/>
              </a:spcBef>
            </a:pPr>
            <a:r>
              <a:rPr lang="hu-HU" sz="3200" b="1" dirty="0">
                <a:solidFill>
                  <a:srgbClr val="E45212"/>
                </a:solidFill>
                <a:sym typeface="DINPro-Regular" panose="02000503030000020004" pitchFamily="2" charset="0"/>
              </a:rPr>
              <a:t>UFS Magyarország </a:t>
            </a:r>
            <a:r>
              <a:rPr lang="en-US" sz="3200" b="1" dirty="0">
                <a:solidFill>
                  <a:srgbClr val="E45212"/>
                </a:solidFill>
                <a:sym typeface="DINPro-Regular" panose="02000503030000020004" pitchFamily="2" charset="0"/>
              </a:rPr>
              <a:t>= </a:t>
            </a:r>
            <a:r>
              <a:rPr lang="hu-HU" sz="3200" b="1" dirty="0">
                <a:solidFill>
                  <a:srgbClr val="E45212"/>
                </a:solidFill>
                <a:sym typeface="DINPro-Regular" panose="02000503030000020004" pitchFamily="2" charset="0"/>
              </a:rPr>
              <a:t> 43 alkalmazott  (6 séf, 3 dietetikus) </a:t>
            </a:r>
          </a:p>
        </p:txBody>
      </p:sp>
    </p:spTree>
    <p:extLst>
      <p:ext uri="{BB962C8B-B14F-4D97-AF65-F5344CB8AC3E}">
        <p14:creationId xmlns:p14="http://schemas.microsoft.com/office/powerpoint/2010/main" val="1277107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7815" y="688479"/>
            <a:ext cx="6869723" cy="467368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sp>
        <p:nvSpPr>
          <p:cNvPr id="5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17736" y="94189"/>
            <a:ext cx="11064884" cy="624446"/>
          </a:xfrm>
        </p:spPr>
        <p:txBody>
          <a:bodyPr>
            <a:noAutofit/>
          </a:bodyPr>
          <a:lstStyle/>
          <a:p>
            <a:r>
              <a:rPr lang="hu-HU" sz="3200" dirty="0"/>
              <a:t>Márkáink, küldetésünk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227301" y="1910134"/>
            <a:ext cx="5449597" cy="4142933"/>
            <a:chOff x="227301" y="1910134"/>
            <a:chExt cx="5449597" cy="4142933"/>
          </a:xfrm>
        </p:grpSpPr>
        <p:sp>
          <p:nvSpPr>
            <p:cNvPr id="6" name="Rectangle 5"/>
            <p:cNvSpPr/>
            <p:nvPr/>
          </p:nvSpPr>
          <p:spPr>
            <a:xfrm>
              <a:off x="713803" y="1910134"/>
              <a:ext cx="4644949" cy="26776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spcBef>
                  <a:spcPct val="20000"/>
                </a:spcBef>
              </a:pPr>
              <a:r>
                <a:rPr lang="hu-HU" sz="2400" b="1" dirty="0">
                  <a:sym typeface="DINPro-Regular" panose="02000503030000020004" pitchFamily="2" charset="0"/>
                </a:rPr>
                <a:t>Támogatni a séfeket :</a:t>
              </a:r>
              <a:r>
                <a:rPr lang="hu-HU" sz="2400" dirty="0">
                  <a:sym typeface="DINPro-Regular" panose="02000503030000020004" pitchFamily="2" charset="0"/>
                </a:rPr>
                <a:t> </a:t>
              </a:r>
            </a:p>
            <a:p>
              <a: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</a:pPr>
              <a:r>
                <a:rPr lang="hu-HU" sz="2400" dirty="0">
                  <a:sym typeface="DINPro-Regular" panose="02000503030000020004" pitchFamily="2" charset="0"/>
                </a:rPr>
                <a:t>Inspirációval</a:t>
              </a:r>
            </a:p>
            <a:p>
              <a: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</a:pPr>
              <a:r>
                <a:rPr lang="hu-HU" sz="2400" dirty="0">
                  <a:sym typeface="DINPro-Regular" panose="02000503030000020004" pitchFamily="2" charset="0"/>
                </a:rPr>
                <a:t>Folyamatos fejlesztésekkel</a:t>
              </a:r>
            </a:p>
            <a:p>
              <a: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</a:pPr>
              <a:r>
                <a:rPr lang="hu-HU" sz="2400" dirty="0">
                  <a:sym typeface="DINPro-Regular" panose="02000503030000020004" pitchFamily="2" charset="0"/>
                </a:rPr>
                <a:t>Hatékonyság javításával</a:t>
              </a:r>
            </a:p>
            <a:p>
              <a: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</a:pPr>
              <a:r>
                <a:rPr lang="hu-HU" sz="2400" dirty="0">
                  <a:sym typeface="DINPro-Regular" panose="02000503030000020004" pitchFamily="2" charset="0"/>
                </a:rPr>
                <a:t>Környezet-tudatossággal</a:t>
              </a:r>
            </a:p>
            <a:p>
              <a:pPr marL="457200" lvl="0" indent="-457200">
                <a:spcBef>
                  <a:spcPct val="20000"/>
                </a:spcBef>
                <a:buFont typeface="Arial" panose="020B0604020202020204" pitchFamily="34" charset="0"/>
                <a:buChar char="•"/>
              </a:pPr>
              <a:endParaRPr lang="hu-HU" sz="2400" dirty="0">
                <a:sym typeface="DINPro-Regular" panose="02000503030000020004" pitchFamily="2" charset="0"/>
              </a:endParaRPr>
            </a:p>
          </p:txBody>
        </p:sp>
        <p:pic>
          <p:nvPicPr>
            <p:cNvPr id="7" name="Picture 7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27301" y="5118265"/>
              <a:ext cx="757438" cy="9348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8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993896" y="5269813"/>
              <a:ext cx="801434" cy="5177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9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985166" y="5235771"/>
              <a:ext cx="655412" cy="5858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853057" y="5235771"/>
              <a:ext cx="733774" cy="608567"/>
            </a:xfrm>
            <a:prstGeom prst="rect">
              <a:avLst/>
            </a:prstGeom>
          </p:spPr>
        </p:pic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662857" y="5164754"/>
              <a:ext cx="1014041" cy="727887"/>
            </a:xfrm>
            <a:prstGeom prst="rect">
              <a:avLst/>
            </a:prstGeom>
          </p:spPr>
        </p:pic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92686" y="5182715"/>
              <a:ext cx="750664" cy="6524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2100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94290" y="199696"/>
            <a:ext cx="11064884" cy="624446"/>
          </a:xfrm>
        </p:spPr>
        <p:txBody>
          <a:bodyPr>
            <a:noAutofit/>
          </a:bodyPr>
          <a:lstStyle/>
          <a:p>
            <a:r>
              <a:rPr lang="hu-HU" sz="3200"/>
              <a:t>Stratégiai eredményeink, szakmai kapcsolataink</a:t>
            </a:r>
            <a:endParaRPr lang="hu-HU" sz="3200" dirty="0"/>
          </a:p>
        </p:txBody>
      </p:sp>
      <p:pic>
        <p:nvPicPr>
          <p:cNvPr id="9" name="Picture 6" descr="image00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4313" y="3230449"/>
            <a:ext cx="1933941" cy="2776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7315200" y="1445273"/>
            <a:ext cx="4734448" cy="1531166"/>
            <a:chOff x="7072159" y="1434771"/>
            <a:chExt cx="4977489" cy="1541668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715322" y="1434771"/>
              <a:ext cx="2334326" cy="153116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072159" y="1445273"/>
              <a:ext cx="2348374" cy="153116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sp>
        <p:nvSpPr>
          <p:cNvPr id="15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08712" y="4783266"/>
            <a:ext cx="7365988" cy="1025946"/>
          </a:xfrm>
        </p:spPr>
        <p:txBody>
          <a:bodyPr/>
          <a:lstStyle/>
          <a:p>
            <a:pPr marL="0" indent="0">
              <a:buNone/>
            </a:pPr>
            <a:r>
              <a:rPr lang="hu-HU" sz="2000" b="1" dirty="0"/>
              <a:t>Szakmai partnereink</a:t>
            </a:r>
            <a:endParaRPr lang="hu-HU" sz="1800" b="1" dirty="0"/>
          </a:p>
          <a:p>
            <a:pPr marL="0" indent="0">
              <a:buNone/>
            </a:pPr>
            <a:r>
              <a:rPr lang="hu-HU" sz="1800" dirty="0"/>
              <a:t>SOTE, MDOSZ, ÁNTSZ, ÉLOSZ, KÖZSZÖV, MNGSZ, Vendéglátás Magazin</a:t>
            </a:r>
            <a:endParaRPr lang="en-US" sz="18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12942" y="3277341"/>
            <a:ext cx="1976296" cy="262370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96249" y="1493130"/>
            <a:ext cx="6675910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2000" b="1" dirty="0"/>
              <a:t>2015-től a Magyar Kormány Stratégiai partnere vagyunk</a:t>
            </a:r>
          </a:p>
          <a:p>
            <a:r>
              <a:rPr lang="hu-HU" dirty="0"/>
              <a:t>3 gyár ( Röszke, Nyírbátor, Veszprém )</a:t>
            </a:r>
            <a:endParaRPr lang="en-US" dirty="0"/>
          </a:p>
          <a:p>
            <a:r>
              <a:rPr lang="hu-HU" dirty="0"/>
              <a:t>20 év alatt több, mint 60mrd Ft fejlesztés</a:t>
            </a:r>
          </a:p>
          <a:p>
            <a:r>
              <a:rPr lang="hu-HU" dirty="0"/>
              <a:t>Röszke : magyar alapanyagból, magyar piacra gyártott termék</a:t>
            </a:r>
          </a:p>
        </p:txBody>
      </p:sp>
      <p:sp>
        <p:nvSpPr>
          <p:cNvPr id="5" name="Rectangle 4"/>
          <p:cNvSpPr/>
          <p:nvPr/>
        </p:nvSpPr>
        <p:spPr>
          <a:xfrm>
            <a:off x="428325" y="3277341"/>
            <a:ext cx="73659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2000" b="1" dirty="0"/>
              <a:t>Konyhás néni program</a:t>
            </a:r>
          </a:p>
          <a:p>
            <a:r>
              <a:rPr lang="hu-HU" dirty="0"/>
              <a:t>EMMI által támogatott program</a:t>
            </a:r>
          </a:p>
          <a:p>
            <a:r>
              <a:rPr lang="hu-HU" dirty="0"/>
              <a:t>Célja az egészséges és a rendeleteknek megfelelő gyermekétkeztetés</a:t>
            </a:r>
          </a:p>
        </p:txBody>
      </p:sp>
    </p:spTree>
    <p:extLst>
      <p:ext uri="{BB962C8B-B14F-4D97-AF65-F5344CB8AC3E}">
        <p14:creationId xmlns:p14="http://schemas.microsoft.com/office/powerpoint/2010/main" val="4250804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294290" y="199696"/>
            <a:ext cx="11064884" cy="624446"/>
          </a:xfrm>
        </p:spPr>
        <p:txBody>
          <a:bodyPr>
            <a:noAutofit/>
          </a:bodyPr>
          <a:lstStyle/>
          <a:p>
            <a:r>
              <a:rPr lang="hu-HU" sz="3200" dirty="0"/>
              <a:t>Társadalami felelősségvállalá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24919" y="3040333"/>
            <a:ext cx="6046220" cy="2958534"/>
          </a:xfrm>
        </p:spPr>
        <p:txBody>
          <a:bodyPr/>
          <a:lstStyle/>
          <a:p>
            <a:pPr marL="0" indent="0">
              <a:buNone/>
            </a:pPr>
            <a:r>
              <a:rPr lang="hu-HU" sz="2000" b="1" dirty="0"/>
              <a:t>Egészséges táplálkozás</a:t>
            </a:r>
            <a:endParaRPr lang="hu-HU" sz="1800" b="1" dirty="0"/>
          </a:p>
          <a:p>
            <a:r>
              <a:rPr lang="hu-HU" sz="1800" dirty="0"/>
              <a:t>Só bevitel / felhasználás csökkentés</a:t>
            </a:r>
          </a:p>
          <a:p>
            <a:r>
              <a:rPr lang="hu-HU" sz="1800" dirty="0"/>
              <a:t>TFA ( transz zsírsav ) csökkentés</a:t>
            </a:r>
          </a:p>
          <a:p>
            <a:r>
              <a:rPr lang="hu-HU" sz="1800" dirty="0"/>
              <a:t>Allergén, laktóz, glutén mentesség</a:t>
            </a:r>
          </a:p>
          <a:p>
            <a:r>
              <a:rPr lang="hu-HU" sz="1800" dirty="0"/>
              <a:t>MSG mentesség</a:t>
            </a:r>
          </a:p>
          <a:p>
            <a:r>
              <a:rPr lang="hu-HU" sz="1800" dirty="0"/>
              <a:t>Zsírbevitel / bő zsíradék használatának csökkentése</a:t>
            </a:r>
          </a:p>
          <a:p>
            <a:pPr marL="0" indent="0">
              <a:buNone/>
            </a:pPr>
            <a:endParaRPr lang="hu-HU" sz="180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1977" y="4011025"/>
            <a:ext cx="2566854" cy="1880228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8006861" y="978468"/>
            <a:ext cx="3692770" cy="4912785"/>
            <a:chOff x="8006861" y="824142"/>
            <a:chExt cx="3692770" cy="5067111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405777" y="4020004"/>
              <a:ext cx="2293854" cy="1871249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006861" y="824142"/>
              <a:ext cx="3483742" cy="2732561"/>
            </a:xfrm>
            <a:prstGeom prst="rect">
              <a:avLst/>
            </a:prstGeom>
          </p:spPr>
        </p:pic>
      </p:grpSp>
      <p:sp>
        <p:nvSpPr>
          <p:cNvPr id="3" name="Rectangle 2"/>
          <p:cNvSpPr/>
          <p:nvPr/>
        </p:nvSpPr>
        <p:spPr>
          <a:xfrm>
            <a:off x="294290" y="1740475"/>
            <a:ext cx="6096000" cy="67710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hu-HU" sz="2000" b="1" dirty="0"/>
              <a:t>Knorr Mintafarm program</a:t>
            </a:r>
          </a:p>
          <a:p>
            <a:r>
              <a:rPr lang="hu-HU" dirty="0"/>
              <a:t>Muronyi hagyma a magyar piacra gyártott Delikátokban</a:t>
            </a:r>
          </a:p>
        </p:txBody>
      </p:sp>
    </p:spTree>
    <p:extLst>
      <p:ext uri="{BB962C8B-B14F-4D97-AF65-F5344CB8AC3E}">
        <p14:creationId xmlns:p14="http://schemas.microsoft.com/office/powerpoint/2010/main" val="16432263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000"/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 flipH="1" flipV="1">
            <a:off x="12387262" y="6175627"/>
            <a:ext cx="757238" cy="82524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>
              <a:defRPr sz="1500">
                <a:solidFill>
                  <a:srgbClr val="005EB8"/>
                </a:solidFill>
                <a:latin typeface="+mn-lt"/>
                <a:cs typeface="Unilever DIN Offc Pro" pitchFamily="34" charset="0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hu-HU" sz="2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4125951"/>
            <a:ext cx="12192000" cy="27320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GB" sz="1600" dirty="0" err="1">
              <a:latin typeface="DINPro-Regular" panose="02000503030000020004" pitchFamily="2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0" y="4158474"/>
            <a:ext cx="3043125" cy="2692154"/>
            <a:chOff x="0" y="4158474"/>
            <a:chExt cx="3043125" cy="2692154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5813" y="4620660"/>
              <a:ext cx="2927257" cy="2229968"/>
            </a:xfrm>
            <a:prstGeom prst="rect">
              <a:avLst/>
            </a:prstGeom>
          </p:spPr>
        </p:pic>
        <p:sp>
          <p:nvSpPr>
            <p:cNvPr id="25" name="Rectangle 24"/>
            <p:cNvSpPr/>
            <p:nvPr/>
          </p:nvSpPr>
          <p:spPr>
            <a:xfrm>
              <a:off x="0" y="4158474"/>
              <a:ext cx="3043125" cy="433553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180000" tIns="108000" rIns="180000" bIns="108000" rtlCol="0" anchor="ctr">
              <a:spAutoFit/>
            </a:bodyPr>
            <a:lstStyle/>
            <a:p>
              <a:pPr algn="ctr"/>
              <a:r>
                <a:rPr lang="en-US" sz="1400" b="1" cap="all" spc="200" dirty="0">
                  <a:solidFill>
                    <a:schemeClr val="tx2"/>
                  </a:solidFill>
                </a:rPr>
                <a:t>e-commerce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134868" y="4165591"/>
            <a:ext cx="6119543" cy="2683838"/>
            <a:chOff x="3134868" y="4165591"/>
            <a:chExt cx="6119543" cy="2683838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4868" y="4630595"/>
              <a:ext cx="3065402" cy="2218834"/>
            </a:xfrm>
            <a:prstGeom prst="rect">
              <a:avLst/>
            </a:prstGeom>
          </p:spPr>
        </p:pic>
        <p:pic>
          <p:nvPicPr>
            <p:cNvPr id="24" name="Picture 23"/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61"/>
            <a:stretch/>
          </p:blipFill>
          <p:spPr>
            <a:xfrm>
              <a:off x="6194760" y="4630595"/>
              <a:ext cx="3059651" cy="2208174"/>
            </a:xfrm>
            <a:prstGeom prst="rect">
              <a:avLst/>
            </a:prstGeom>
          </p:spPr>
        </p:pic>
        <p:sp>
          <p:nvSpPr>
            <p:cNvPr id="26" name="Rectangle 25"/>
            <p:cNvSpPr/>
            <p:nvPr/>
          </p:nvSpPr>
          <p:spPr>
            <a:xfrm>
              <a:off x="4804747" y="4165591"/>
              <a:ext cx="3043125" cy="433553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72000" tIns="108000" rIns="72000" bIns="108000" rtlCol="0" anchor="ctr">
              <a:spAutoFit/>
            </a:bodyPr>
            <a:lstStyle/>
            <a:p>
              <a:pPr algn="ctr"/>
              <a:r>
                <a:rPr lang="en-US" sz="1400" b="1" cap="all" spc="200" dirty="0">
                  <a:solidFill>
                    <a:schemeClr val="tx2"/>
                  </a:solidFill>
                </a:rPr>
                <a:t>d</a:t>
              </a:r>
              <a:r>
                <a:rPr lang="hu-HU" sz="1400" b="1" cap="all" spc="200" dirty="0">
                  <a:solidFill>
                    <a:schemeClr val="tx2"/>
                  </a:solidFill>
                </a:rPr>
                <a:t>IGITÁLIS VILÁG</a:t>
              </a:r>
              <a:endParaRPr lang="en-US" sz="1400" b="1" cap="all" spc="2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129304" y="1310399"/>
            <a:ext cx="5888301" cy="2793809"/>
            <a:chOff x="3129304" y="1310399"/>
            <a:chExt cx="5888301" cy="2793809"/>
          </a:xfrm>
        </p:grpSpPr>
        <p:sp>
          <p:nvSpPr>
            <p:cNvPr id="23" name="Rectangle 22"/>
            <p:cNvSpPr/>
            <p:nvPr/>
          </p:nvSpPr>
          <p:spPr>
            <a:xfrm>
              <a:off x="4418496" y="1310399"/>
              <a:ext cx="3043125" cy="433553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72000" tIns="108000" rIns="72000" bIns="108000" rtlCol="0" anchor="ctr">
              <a:spAutoFit/>
            </a:bodyPr>
            <a:lstStyle/>
            <a:p>
              <a:pPr algn="ctr"/>
              <a:r>
                <a:rPr lang="hu-HU" sz="1400" b="1" cap="all" spc="200" dirty="0">
                  <a:solidFill>
                    <a:schemeClr val="tx2"/>
                  </a:solidFill>
                </a:rPr>
                <a:t>GASZTRONÓMIA </a:t>
              </a:r>
              <a:r>
                <a:rPr lang="en-US" sz="1400" b="1" cap="all" spc="200" dirty="0">
                  <a:solidFill>
                    <a:schemeClr val="tx2"/>
                  </a:solidFill>
                </a:rPr>
                <a:t>= </a:t>
              </a:r>
              <a:r>
                <a:rPr lang="hu-HU" sz="1400" b="1" cap="all" spc="200" dirty="0">
                  <a:solidFill>
                    <a:schemeClr val="tx2"/>
                  </a:solidFill>
                </a:rPr>
                <a:t>TrENDI</a:t>
              </a:r>
              <a:endParaRPr lang="en-US" sz="1400" b="1" cap="all" spc="200" dirty="0">
                <a:solidFill>
                  <a:schemeClr val="tx2"/>
                </a:solidFill>
              </a:endParaRPr>
            </a:p>
          </p:txBody>
        </p:sp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129304" y="1944782"/>
              <a:ext cx="2928757" cy="2159426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063134" y="1955502"/>
              <a:ext cx="2954471" cy="2148706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53186" y="1328402"/>
            <a:ext cx="3043125" cy="2770695"/>
            <a:chOff x="53186" y="1328402"/>
            <a:chExt cx="3043125" cy="2770695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 rotWithShape="1">
            <a:blip r:embed="rId8"/>
            <a:srcRect r="26759"/>
            <a:stretch/>
          </p:blipFill>
          <p:spPr>
            <a:xfrm>
              <a:off x="53186" y="1944782"/>
              <a:ext cx="2936751" cy="2154315"/>
            </a:xfrm>
            <a:prstGeom prst="rect">
              <a:avLst/>
            </a:prstGeom>
          </p:spPr>
        </p:pic>
        <p:sp>
          <p:nvSpPr>
            <p:cNvPr id="31" name="Rectangle 30"/>
            <p:cNvSpPr/>
            <p:nvPr/>
          </p:nvSpPr>
          <p:spPr>
            <a:xfrm>
              <a:off x="53186" y="1328402"/>
              <a:ext cx="3043125" cy="433553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180000" tIns="108000" rIns="180000" bIns="108000" rtlCol="0" anchor="ctr">
              <a:spAutoFit/>
            </a:bodyPr>
            <a:lstStyle/>
            <a:p>
              <a:pPr algn="ctr"/>
              <a:r>
                <a:rPr lang="hu-HU" sz="1400" b="1" cap="all" spc="200" dirty="0">
                  <a:solidFill>
                    <a:schemeClr val="tx2"/>
                  </a:solidFill>
                </a:rPr>
                <a:t>MUNKAERŐ HIÁNY</a:t>
              </a:r>
              <a:endParaRPr lang="en-US" sz="1400" b="1" cap="all" spc="2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8928397" y="1326946"/>
            <a:ext cx="3043125" cy="2552058"/>
            <a:chOff x="8928397" y="1326946"/>
            <a:chExt cx="3043125" cy="2552058"/>
          </a:xfrm>
        </p:grpSpPr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218984" y="1877926"/>
              <a:ext cx="2752538" cy="2001078"/>
            </a:xfrm>
            <a:prstGeom prst="rect">
              <a:avLst/>
            </a:prstGeom>
          </p:spPr>
        </p:pic>
        <p:sp>
          <p:nvSpPr>
            <p:cNvPr id="32" name="Rectangle 31"/>
            <p:cNvSpPr/>
            <p:nvPr/>
          </p:nvSpPr>
          <p:spPr>
            <a:xfrm>
              <a:off x="8928397" y="1326946"/>
              <a:ext cx="3043125" cy="433553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180000" tIns="108000" rIns="180000" bIns="108000" rtlCol="0" anchor="ctr">
              <a:spAutoFit/>
            </a:bodyPr>
            <a:lstStyle/>
            <a:p>
              <a:pPr algn="ctr"/>
              <a:r>
                <a:rPr lang="hu-HU" sz="1400" b="1" cap="all" spc="200" dirty="0">
                  <a:solidFill>
                    <a:schemeClr val="tx2"/>
                  </a:solidFill>
                </a:rPr>
                <a:t>KÖLTSÉGEK NÖVEKEDÉSE</a:t>
              </a:r>
              <a:endParaRPr lang="en-US" sz="1400" b="1" cap="all" spc="200" dirty="0">
                <a:solidFill>
                  <a:schemeClr val="tx2"/>
                </a:solidFill>
              </a:endParaRPr>
            </a:p>
          </p:txBody>
        </p:sp>
      </p:grp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43" y="0"/>
            <a:ext cx="12197647" cy="1079999"/>
          </a:xfrm>
          <a:prstGeom prst="rect">
            <a:avLst/>
          </a:prstGeom>
        </p:spPr>
      </p:pic>
      <p:sp>
        <p:nvSpPr>
          <p:cNvPr id="34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95767" y="230400"/>
            <a:ext cx="11064884" cy="492443"/>
          </a:xfrm>
        </p:spPr>
        <p:txBody>
          <a:bodyPr anchor="t">
            <a:spAutoFit/>
          </a:bodyPr>
          <a:lstStyle/>
          <a:p>
            <a:r>
              <a:rPr lang="hu-HU" sz="3200" dirty="0">
                <a:solidFill>
                  <a:schemeClr val="bg1"/>
                </a:solidFill>
              </a:rPr>
              <a:t>VENDÉGLÁTÁS - HELYZETJELENTÉS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9429023" y="4176134"/>
            <a:ext cx="2623750" cy="433553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180000" tIns="108000" rIns="180000" bIns="108000" rtlCol="0" anchor="ctr">
            <a:spAutoFit/>
          </a:bodyPr>
          <a:lstStyle/>
          <a:p>
            <a:pPr algn="ctr"/>
            <a:endParaRPr lang="en-US" sz="1400" b="1" cap="all" spc="200" dirty="0">
              <a:solidFill>
                <a:schemeClr val="tx2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9412683" y="3966176"/>
            <a:ext cx="2776721" cy="2872593"/>
            <a:chOff x="9412683" y="3966176"/>
            <a:chExt cx="2776721" cy="2872593"/>
          </a:xfrm>
        </p:grpSpPr>
        <p:sp>
          <p:nvSpPr>
            <p:cNvPr id="37" name="Rectangle 36"/>
            <p:cNvSpPr/>
            <p:nvPr/>
          </p:nvSpPr>
          <p:spPr>
            <a:xfrm>
              <a:off x="9535239" y="3966176"/>
              <a:ext cx="2517534" cy="648997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180000" tIns="108000" rIns="180000" bIns="108000" rtlCol="0" anchor="ctr">
              <a:spAutoFit/>
            </a:bodyPr>
            <a:lstStyle/>
            <a:p>
              <a:pPr algn="ctr"/>
              <a:r>
                <a:rPr lang="hu-HU" sz="1400" b="1" cap="all" spc="200" dirty="0">
                  <a:solidFill>
                    <a:schemeClr val="tx2"/>
                  </a:solidFill>
                </a:rPr>
                <a:t>GENERÁCIÓS </a:t>
              </a:r>
            </a:p>
            <a:p>
              <a:pPr algn="ctr"/>
              <a:r>
                <a:rPr lang="hu-HU" sz="1400" b="1" cap="all" spc="200" dirty="0">
                  <a:solidFill>
                    <a:schemeClr val="tx2"/>
                  </a:solidFill>
                </a:rPr>
                <a:t>KÜLÖNBSÉGEK</a:t>
              </a:r>
              <a:endParaRPr lang="en-US" sz="1400" b="1" cap="all" spc="200" dirty="0">
                <a:solidFill>
                  <a:schemeClr val="tx2"/>
                </a:solidFill>
              </a:endParaRPr>
            </a:p>
          </p:txBody>
        </p:sp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412683" y="4620660"/>
              <a:ext cx="2776721" cy="22181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93314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1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 flipH="1" flipV="1">
            <a:off x="12387262" y="6175627"/>
            <a:ext cx="757238" cy="82524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>
              <a:defRPr sz="1500">
                <a:solidFill>
                  <a:srgbClr val="005EB8"/>
                </a:solidFill>
                <a:latin typeface="+mn-lt"/>
                <a:cs typeface="Unilever DIN Offc Pro" pitchFamily="34" charset="0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hu-HU" sz="2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r="26759"/>
          <a:stretch/>
        </p:blipFill>
        <p:spPr>
          <a:xfrm>
            <a:off x="351886" y="2045144"/>
            <a:ext cx="4465442" cy="3275718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43" y="0"/>
            <a:ext cx="12197647" cy="1079999"/>
          </a:xfrm>
          <a:prstGeom prst="rect">
            <a:avLst/>
          </a:prstGeom>
        </p:spPr>
      </p:pic>
      <p:sp>
        <p:nvSpPr>
          <p:cNvPr id="34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95767" y="230400"/>
            <a:ext cx="11064884" cy="492443"/>
          </a:xfrm>
        </p:spPr>
        <p:txBody>
          <a:bodyPr anchor="t">
            <a:spAutoFit/>
          </a:bodyPr>
          <a:lstStyle/>
          <a:p>
            <a:r>
              <a:rPr lang="hu-HU" sz="3200" dirty="0">
                <a:solidFill>
                  <a:schemeClr val="bg1"/>
                </a:solidFill>
              </a:rPr>
              <a:t>MUNKAERŐ HIÁNY</a:t>
            </a:r>
            <a:endParaRPr lang="en-US" sz="3200" dirty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5582785" y="2647308"/>
            <a:ext cx="5869259" cy="17912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Munkafolyamatokat kiváltó termékek</a:t>
            </a:r>
          </a:p>
          <a:p>
            <a:pPr marL="45720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Termékhasználat bemutatók</a:t>
            </a:r>
          </a:p>
          <a:p>
            <a:pPr marL="45720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Alapanyag felhasználás hatékonysága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hu-HU" sz="2400" dirty="0">
              <a:sym typeface="DINPro-Regular" panose="020005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4307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 flipH="1" flipV="1">
            <a:off x="12387262" y="6175627"/>
            <a:ext cx="757238" cy="82524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>
              <a:defRPr sz="1500">
                <a:solidFill>
                  <a:srgbClr val="005EB8"/>
                </a:solidFill>
                <a:latin typeface="+mn-lt"/>
                <a:cs typeface="Unilever DIN Offc Pro" pitchFamily="34" charset="0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hu-HU" sz="2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43" y="0"/>
            <a:ext cx="12197647" cy="1079999"/>
          </a:xfrm>
          <a:prstGeom prst="rect">
            <a:avLst/>
          </a:prstGeom>
        </p:spPr>
      </p:pic>
      <p:sp>
        <p:nvSpPr>
          <p:cNvPr id="34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95767" y="230400"/>
            <a:ext cx="11064884" cy="492443"/>
          </a:xfrm>
        </p:spPr>
        <p:txBody>
          <a:bodyPr anchor="t">
            <a:spAutoFit/>
          </a:bodyPr>
          <a:lstStyle/>
          <a:p>
            <a:r>
              <a:rPr lang="hu-HU" sz="3200" dirty="0">
                <a:solidFill>
                  <a:schemeClr val="bg1"/>
                </a:solidFill>
              </a:rPr>
              <a:t>GASZTRONÓMIA = TRENDI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526594" y="2624195"/>
            <a:ext cx="666281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Receptúrák, megoldások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Szezonalitáshoz igazított kiadványok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Ételérzékenységnek megfelelő alapanyagok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Chef-klubbok, rendezvények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Véleményvezérekkel történő együttműködés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hu-HU" sz="2400" dirty="0">
              <a:sym typeface="DINPro-Regular" panose="02000503030000020004" pitchFamily="2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3706" y="1999727"/>
            <a:ext cx="4426186" cy="3219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2420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 flipH="1" flipV="1">
            <a:off x="12387262" y="6175627"/>
            <a:ext cx="757238" cy="825248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>
              <a:defRPr sz="1500">
                <a:solidFill>
                  <a:srgbClr val="005EB8"/>
                </a:solidFill>
                <a:latin typeface="+mn-lt"/>
                <a:cs typeface="Unilever DIN Offc Pro" pitchFamily="34" charset="0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hu-HU" sz="200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243" y="0"/>
            <a:ext cx="12197647" cy="1079999"/>
          </a:xfrm>
          <a:prstGeom prst="rect">
            <a:avLst/>
          </a:prstGeom>
        </p:spPr>
      </p:pic>
      <p:sp>
        <p:nvSpPr>
          <p:cNvPr id="34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95767" y="230400"/>
            <a:ext cx="11064884" cy="492443"/>
          </a:xfrm>
        </p:spPr>
        <p:txBody>
          <a:bodyPr anchor="t">
            <a:spAutoFit/>
          </a:bodyPr>
          <a:lstStyle/>
          <a:p>
            <a:r>
              <a:rPr lang="hu-HU" sz="3200" dirty="0">
                <a:solidFill>
                  <a:schemeClr val="bg1"/>
                </a:solidFill>
              </a:rPr>
              <a:t>KÖLTSÉGEK NÖVEKEDÉS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5512361" y="2650156"/>
            <a:ext cx="6519805" cy="21605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Tartós, rögzített beszerzési árak</a:t>
            </a:r>
            <a:endParaRPr lang="en-US" sz="2400" dirty="0">
              <a:sym typeface="DINPro-Regular" panose="02000503030000020004" pitchFamily="2" charset="0"/>
            </a:endParaRP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2400" dirty="0" err="1">
                <a:sym typeface="DINPro-Regular" panose="02000503030000020004" pitchFamily="2" charset="0"/>
              </a:rPr>
              <a:t>Eszk</a:t>
            </a:r>
            <a:r>
              <a:rPr lang="hu-HU" sz="2400" dirty="0">
                <a:sym typeface="DINPro-Regular" panose="02000503030000020004" pitchFamily="2" charset="0"/>
              </a:rPr>
              <a:t>özkihelyezési, fejlesztési együttműködés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hu-HU" sz="2400" dirty="0">
                <a:sym typeface="DINPro-Regular" panose="02000503030000020004" pitchFamily="2" charset="0"/>
              </a:rPr>
              <a:t>Promóciók ( szakmai ajándékok )</a:t>
            </a:r>
          </a:p>
          <a:p>
            <a:pPr marL="457200" lvl="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endParaRPr lang="hu-HU" sz="2400" dirty="0">
              <a:sym typeface="DINPro-Regular" panose="02000503030000020004" pitchFamily="2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578" y="1984679"/>
            <a:ext cx="4184783" cy="3042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4874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b8a33af5ad1ef2c75e7f3a584e3ec9e7f212322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F00693CD-8415-4022-ACD2-762C1198F9E8}" vid="{D3745070-9F3C-49F3-9AF3-45E98CFD2329}"/>
    </a:ext>
  </a:extLst>
</a:theme>
</file>

<file path=ppt/theme/theme2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antoorthema</Template>
  <TotalTime>0</TotalTime>
  <Words>465</Words>
  <Application>Microsoft Office PowerPoint</Application>
  <PresentationFormat>Widescreen</PresentationFormat>
  <Paragraphs>123</Paragraphs>
  <Slides>18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DINPro-Light</vt:lpstr>
      <vt:lpstr>DINPro-Medium</vt:lpstr>
      <vt:lpstr>DINPro-Regular</vt:lpstr>
      <vt:lpstr>Unilever DIN Offc Pro</vt:lpstr>
      <vt:lpstr>Wingdings</vt:lpstr>
      <vt:lpstr>UFS Template</vt:lpstr>
      <vt:lpstr>think-cell Slide</vt:lpstr>
      <vt:lpstr> Professzionális megoldások  a vendéglátás területén  Unilever Food Solutions    2017. október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öszönjük a figyelmet 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1-22T14:42:55Z</dcterms:created>
  <dcterms:modified xsi:type="dcterms:W3CDTF">2017-10-06T12:02:14Z</dcterms:modified>
</cp:coreProperties>
</file>